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9" r:id="rId4"/>
    <p:sldMasterId id="2147483663" r:id="rId5"/>
  </p:sldMasterIdLst>
  <p:notesMasterIdLst>
    <p:notesMasterId r:id="rId7"/>
  </p:notesMasterIdLst>
  <p:handoutMasterIdLst>
    <p:handoutMasterId r:id="rId8"/>
  </p:handoutMasterIdLst>
  <p:sldIdLst>
    <p:sldId id="1124" r:id="rId6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0EAE48B-4D38-4CFA-A636-C254E727F0B4}">
          <p14:sldIdLst>
            <p14:sldId id="11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59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pos="7423" userDrawn="1">
          <p15:clr>
            <a:srgbClr val="A4A3A4"/>
          </p15:clr>
        </p15:guide>
        <p15:guide id="5" orient="horz" pos="255" userDrawn="1">
          <p15:clr>
            <a:srgbClr val="A4A3A4"/>
          </p15:clr>
        </p15:guide>
        <p15:guide id="6" orient="horz" pos="4042" userDrawn="1">
          <p15:clr>
            <a:srgbClr val="A4A3A4"/>
          </p15:clr>
        </p15:guide>
        <p15:guide id="7" orient="horz" pos="663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enen, Wim" initials="CW" lastIdx="3" clrIdx="0">
    <p:extLst>
      <p:ext uri="{19B8F6BF-5375-455C-9EA6-DF929625EA0E}">
        <p15:presenceInfo xmlns:p15="http://schemas.microsoft.com/office/powerpoint/2012/main" userId="S-1-5-21-1715567821-1659004503-839522115-761099" providerId="AD"/>
      </p:ext>
    </p:extLst>
  </p:cmAuthor>
  <p:cmAuthor id="2" name="Aldridge, Ian X (UK - London)" initials="AIX(-L" lastIdx="1" clrIdx="1">
    <p:extLst>
      <p:ext uri="{19B8F6BF-5375-455C-9EA6-DF929625EA0E}">
        <p15:presenceInfo xmlns:p15="http://schemas.microsoft.com/office/powerpoint/2012/main" userId="S-1-5-21-83642069-1626958306-390482200-5669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25C"/>
    <a:srgbClr val="000000"/>
    <a:srgbClr val="04BAEE"/>
    <a:srgbClr val="002A4C"/>
    <a:srgbClr val="FFFFFF"/>
    <a:srgbClr val="003D6A"/>
    <a:srgbClr val="3F90B5"/>
    <a:srgbClr val="136B9A"/>
    <a:srgbClr val="0072C8"/>
    <a:srgbClr val="01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68" autoAdjust="0"/>
    <p:restoredTop sz="94660"/>
  </p:normalViewPr>
  <p:slideViewPr>
    <p:cSldViewPr snapToGrid="0">
      <p:cViewPr varScale="1">
        <p:scale>
          <a:sx n="65" d="100"/>
          <a:sy n="65" d="100"/>
        </p:scale>
        <p:origin x="924" y="84"/>
      </p:cViewPr>
      <p:guideLst>
        <p:guide orient="horz" pos="459"/>
        <p:guide pos="3840"/>
        <p:guide pos="257"/>
        <p:guide pos="7423"/>
        <p:guide orient="horz" pos="255"/>
        <p:guide orient="horz" pos="4042"/>
        <p:guide orient="horz" pos="663"/>
        <p:guide orient="horz" pos="89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bgade, Rahul" userId="22174c26-19fb-4bc0-b105-a48fabdc3807" providerId="ADAL" clId="{D3FF8118-0150-4E47-BB05-8E4D987E5E62}"/>
    <pc:docChg chg="addSld modSld">
      <pc:chgData name="Ubgade, Rahul" userId="22174c26-19fb-4bc0-b105-a48fabdc3807" providerId="ADAL" clId="{D3FF8118-0150-4E47-BB05-8E4D987E5E62}" dt="2017-12-13T08:16:45.682" v="24" actId="12"/>
      <pc:docMkLst>
        <pc:docMk/>
      </pc:docMkLst>
      <pc:sldChg chg="modSp add">
        <pc:chgData name="Ubgade, Rahul" userId="22174c26-19fb-4bc0-b105-a48fabdc3807" providerId="ADAL" clId="{D3FF8118-0150-4E47-BB05-8E4D987E5E62}" dt="2017-12-13T08:16:45.682" v="24" actId="12"/>
        <pc:sldMkLst>
          <pc:docMk/>
          <pc:sldMk cId="3300979827" sldId="1094"/>
        </pc:sldMkLst>
        <pc:spChg chg="mod">
          <ac:chgData name="Ubgade, Rahul" userId="22174c26-19fb-4bc0-b105-a48fabdc3807" providerId="ADAL" clId="{D3FF8118-0150-4E47-BB05-8E4D987E5E62}" dt="2017-12-13T08:16:00.285" v="18" actId="20577"/>
          <ac:spMkLst>
            <pc:docMk/>
            <pc:sldMk cId="3300979827" sldId="1094"/>
            <ac:spMk id="2" creationId="{B4FD71FB-578C-4392-AC46-521E93A6F6CD}"/>
          </ac:spMkLst>
        </pc:spChg>
        <pc:spChg chg="mod">
          <ac:chgData name="Ubgade, Rahul" userId="22174c26-19fb-4bc0-b105-a48fabdc3807" providerId="ADAL" clId="{D3FF8118-0150-4E47-BB05-8E4D987E5E62}" dt="2017-12-13T08:16:45.682" v="24" actId="12"/>
          <ac:spMkLst>
            <pc:docMk/>
            <pc:sldMk cId="3300979827" sldId="1094"/>
            <ac:spMk id="3" creationId="{1254D487-1799-4A9D-844E-5B470F66436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Employee HR Services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815DF7-97E5-45D8-8651-37D5FCE604E9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43656-8062-48CB-9294-8405F8B56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843397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Employee HR Services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7D613-B2AF-B941-9EB9-4A939658DADE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AA423A-D658-1741-946A-C5D1E70D16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628" y="1034217"/>
            <a:ext cx="11230030" cy="5375641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0"/>
          </p:nvPr>
        </p:nvSpPr>
        <p:spPr>
          <a:xfrm>
            <a:off x="1029678" y="6554789"/>
            <a:ext cx="5756031" cy="14287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9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535354" y="6554789"/>
            <a:ext cx="550985" cy="142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B2C466-E440-4530-A45D-6E96A389EB36}" type="slidenum">
              <a:rPr lang="en-GB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2776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8530493" y="6554789"/>
            <a:ext cx="3085124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8025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2776"/>
                </a:solidFill>
                <a:cs typeface="Arial" pitchFamily="34" charset="0"/>
              </a:rPr>
              <a:t>© 2012 Deloitte LLP. 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78442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6A7D4-500A-4173-B659-DAB5813CC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5125ED-3CB2-4FE7-B754-D25D03422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25137C-785F-42EE-BD8A-92DED5D29F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718FA7-D2DF-4314-BC00-F3D6A1C5B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88F468-5613-4D4E-B11B-7CFF2AC62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CAD462-15BF-48C3-B84A-EEC349054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628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C1666-64C2-4DDF-91B5-990EE3EBC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D5236F-DB69-44EE-B62F-35FF083EA6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D6AB0A-30C0-4BB3-9C8D-552265276D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255A7E-70C0-4ABC-865E-88785B592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0E55D9-33D2-4261-8CB3-F64A7AB09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D4D362-BA3C-4A8A-B1A6-E752E2982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879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3F597-84FF-4634-8B3D-E8B347B2D8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7750D8-45BE-4EDD-A1D8-422AA255BD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5A57F-7024-43D7-856F-1D04E9AC5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10A61-F315-4C8B-9716-2204C9B52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6ACA7-9EAA-40FF-9132-D46588C9B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557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B05B2C-05DA-4A4F-B1F7-35BDD667C4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9504B9-251B-4B1E-8E8E-33F3BE3BD5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481CC4-A124-4C23-AA30-1E78A3CA5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2EB2F-9AFB-4572-A127-2E8ED606A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955D7-E240-45F2-8C44-A30C8D38C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21710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1523760" y="2886327"/>
            <a:ext cx="5329310" cy="1128762"/>
          </a:xfrm>
        </p:spPr>
        <p:txBody>
          <a:bodyPr/>
          <a:lstStyle>
            <a:lvl1pPr>
              <a:lnSpc>
                <a:spcPts val="2632"/>
              </a:lnSpc>
              <a:defRPr sz="2600" b="0" smtClean="0">
                <a:latin typeface="Times New Roman" pitchFamily="18" charset="0"/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542551" y="6028936"/>
            <a:ext cx="6320139" cy="303897"/>
          </a:xfrm>
        </p:spPr>
        <p:txBody>
          <a:bodyPr/>
          <a:lstStyle>
            <a:lvl1pPr marL="0" indent="0">
              <a:lnSpc>
                <a:spcPts val="2092"/>
              </a:lnSpc>
              <a:defRPr b="1" smtClean="0">
                <a:latin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554892" y="6553201"/>
            <a:ext cx="377093" cy="144463"/>
          </a:xfrm>
        </p:spPr>
        <p:txBody>
          <a:bodyPr/>
          <a:lstStyle>
            <a:lvl1pPr>
              <a:lnSpc>
                <a:spcPts val="1263"/>
              </a:lnSpc>
              <a:defRPr/>
            </a:lvl1pPr>
          </a:lstStyle>
          <a:p>
            <a:pPr>
              <a:defRPr/>
            </a:pPr>
            <a:fld id="{4474638C-9188-4A21-BC38-88F6A1FCBBD7}" type="slidenum">
              <a:rPr lang="en-GB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97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40C11-5D11-4DD5-BBB0-4D9B8AE7A5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91312A-EFFC-4A4D-83CE-F58ED10825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C94ABE-E811-4A63-824E-62CED06627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C5C1D2-2AE2-44A9-853B-DCA5F71CA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E3314-A2DC-41C3-BE06-C73436793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8978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5E45F-FC5F-40EC-9BE0-7A117BA60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98C234-DE83-494E-969B-C28BB29A39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843EEC-CB64-46AE-9A38-9B732172B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22690B-9CFC-40E5-BDE0-BCC3CA0A4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EF415-688B-4E66-B4B0-95B577281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030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17A9A-FF61-47A1-BFEA-15EEEC523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1AC215-E9FF-4409-AD31-F91CE2630F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96BDDA-3456-47A6-B156-E1681AA53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35BEE-5153-4DFF-B45F-028442753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8D8A34-D5DA-4F56-8758-63291F011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002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216B5-DD39-4D3F-B0C5-84BE627618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1DF62-21E1-4F83-AB81-DD6F3C22ED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755454-A7BF-4C16-9A6F-5E8793D900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D7F844-38F7-4260-A197-F7749A5AE2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1BEB60-A7A6-4B93-A088-34E55254D7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B26C81-F7E5-4137-A7AD-D01548E15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285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5B6A7-0070-4FF9-A4BE-12CC97E08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771E6-EAF3-4C1B-A74E-B4ECB9B45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F2B55A-FF76-4B00-9379-623350EAC4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E703A0-6EBE-4807-902C-8D426900B8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96DACF-E5C9-4BB4-9963-575FEDE7DA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60B84F-A842-4B32-B641-0AC3F0000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BF1510-AC56-4F62-98F9-2D30A3E60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266E07-FD12-447F-AC00-C3832523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92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05B954-67F2-47CD-B4A7-ADE7F74B8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1B7DF4-C392-4141-9F81-A6AD01FB9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647FE9-70B5-40E6-8EB7-70A1507EA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C63FC2-6C6F-44D6-82B6-36ED1E24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7809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DD6C43-0E6D-4310-92F3-216DEE546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257CF1-B365-4AF3-B002-1C6FDAAED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969CD3-C9CC-44C9-B538-6FCF55481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938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545124" y="350839"/>
            <a:ext cx="11228753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1216" y="1190625"/>
            <a:ext cx="11228753" cy="521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54892" y="6554789"/>
            <a:ext cx="377093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900" b="1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009591F-6F4F-4438-A2AF-AE5301B4D3AB}" type="slidenum">
              <a:rPr lang="en-GB">
                <a:solidFill>
                  <a:srgbClr val="002776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GB">
                <a:solidFill>
                  <a:srgbClr val="002776"/>
                </a:solidFill>
                <a:cs typeface="Arial" pitchFamily="34" charset="0"/>
              </a:rPr>
              <a:t> of 53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277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76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5726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2pPr>
      <a:lvl3pPr algn="l" defTabSz="95726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3pPr>
      <a:lvl4pPr algn="l" defTabSz="95726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4pPr>
      <a:lvl5pPr algn="l" defTabSz="95726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5pPr>
      <a:lvl6pPr marL="429768" algn="l" defTabSz="958025" rtl="0" eaLnBrk="0" fontAlgn="base" hangingPunct="0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6pPr>
      <a:lvl7pPr marL="859536" algn="l" defTabSz="958025" rtl="0" eaLnBrk="0" fontAlgn="base" hangingPunct="0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7pPr>
      <a:lvl8pPr marL="1289304" algn="l" defTabSz="958025" rtl="0" eaLnBrk="0" fontAlgn="base" hangingPunct="0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8pPr>
      <a:lvl9pPr marL="1719072" algn="l" defTabSz="958025" rtl="0" eaLnBrk="0" fontAlgn="base" hangingPunct="0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pitchFamily="34" charset="0"/>
        </a:defRPr>
      </a:lvl9pPr>
    </p:titleStyle>
    <p:bodyStyle>
      <a:lvl1pPr marL="358775" indent="-358775" algn="l" defTabSz="957263" rtl="0" eaLnBrk="0" fontAlgn="base" hangingPunct="0">
        <a:spcBef>
          <a:spcPct val="0"/>
        </a:spcBef>
        <a:spcAft>
          <a:spcPts val="288"/>
        </a:spcAft>
        <a:buFont typeface="Arial" pitchFamily="34" charset="0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0" fontAlgn="base" hangingPunct="0">
        <a:spcBef>
          <a:spcPct val="0"/>
        </a:spcBef>
        <a:spcAft>
          <a:spcPts val="288"/>
        </a:spcAft>
        <a:buFont typeface="Arial" pitchFamily="34" charset="0"/>
        <a:buChar char="•"/>
        <a:defRPr>
          <a:solidFill>
            <a:schemeClr val="tx2"/>
          </a:solidFill>
          <a:latin typeface="+mn-lt"/>
        </a:defRPr>
      </a:lvl2pPr>
      <a:lvl3pPr marL="373063" indent="-182563" algn="l" defTabSz="957263" rtl="0" eaLnBrk="0" fontAlgn="base" hangingPunct="0">
        <a:spcBef>
          <a:spcPct val="0"/>
        </a:spcBef>
        <a:spcAft>
          <a:spcPts val="288"/>
        </a:spcAft>
        <a:buFont typeface="Arial" pitchFamily="34" charset="0"/>
        <a:buChar char="‒"/>
        <a:defRPr>
          <a:solidFill>
            <a:schemeClr val="tx2"/>
          </a:solidFill>
          <a:latin typeface="+mn-lt"/>
        </a:defRPr>
      </a:lvl3pPr>
      <a:lvl4pPr marL="565150" indent="-190500" algn="l" defTabSz="957263" rtl="0" eaLnBrk="0" fontAlgn="base" hangingPunct="0">
        <a:spcBef>
          <a:spcPct val="0"/>
        </a:spcBef>
        <a:spcAft>
          <a:spcPts val="563"/>
        </a:spcAft>
        <a:buFont typeface="Arial" pitchFamily="34" charset="0"/>
        <a:buChar char="•"/>
        <a:defRPr sz="1500">
          <a:solidFill>
            <a:schemeClr val="tx2"/>
          </a:solidFill>
          <a:latin typeface="+mn-lt"/>
        </a:defRPr>
      </a:lvl4pPr>
      <a:lvl5pPr marL="746125" indent="-179388" algn="l" defTabSz="957263" rtl="0" eaLnBrk="0" fontAlgn="base" hangingPunct="0">
        <a:spcBef>
          <a:spcPct val="0"/>
        </a:spcBef>
        <a:spcAft>
          <a:spcPts val="563"/>
        </a:spcAft>
        <a:buFont typeface="Arial" pitchFamily="34" charset="0"/>
        <a:buChar char="‒"/>
        <a:defRPr sz="1500">
          <a:solidFill>
            <a:schemeClr val="tx2"/>
          </a:solidFill>
          <a:latin typeface="+mn-lt"/>
        </a:defRPr>
      </a:lvl5pPr>
      <a:lvl6pPr marL="1175893" indent="-180563" algn="l" defTabSz="958025" rtl="0" eaLnBrk="0" fontAlgn="base" hangingPunct="0">
        <a:spcBef>
          <a:spcPct val="0"/>
        </a:spcBef>
        <a:spcAft>
          <a:spcPts val="564"/>
        </a:spcAft>
        <a:buFont typeface="Arial" pitchFamily="34" charset="0"/>
        <a:buChar char="‒"/>
        <a:defRPr sz="1500">
          <a:solidFill>
            <a:schemeClr val="tx2"/>
          </a:solidFill>
          <a:latin typeface="+mn-lt"/>
        </a:defRPr>
      </a:lvl6pPr>
      <a:lvl7pPr marL="1605661" indent="-180563" algn="l" defTabSz="958025" rtl="0" eaLnBrk="0" fontAlgn="base" hangingPunct="0">
        <a:spcBef>
          <a:spcPct val="0"/>
        </a:spcBef>
        <a:spcAft>
          <a:spcPts val="564"/>
        </a:spcAft>
        <a:buFont typeface="Arial" pitchFamily="34" charset="0"/>
        <a:buChar char="‒"/>
        <a:defRPr sz="1500">
          <a:solidFill>
            <a:schemeClr val="tx2"/>
          </a:solidFill>
          <a:latin typeface="+mn-lt"/>
        </a:defRPr>
      </a:lvl7pPr>
      <a:lvl8pPr marL="2035429" indent="-180563" algn="l" defTabSz="958025" rtl="0" eaLnBrk="0" fontAlgn="base" hangingPunct="0">
        <a:spcBef>
          <a:spcPct val="0"/>
        </a:spcBef>
        <a:spcAft>
          <a:spcPts val="564"/>
        </a:spcAft>
        <a:buFont typeface="Arial" pitchFamily="34" charset="0"/>
        <a:buChar char="‒"/>
        <a:defRPr sz="1500">
          <a:solidFill>
            <a:schemeClr val="tx2"/>
          </a:solidFill>
          <a:latin typeface="+mn-lt"/>
        </a:defRPr>
      </a:lvl8pPr>
      <a:lvl9pPr marL="2465197" indent="-180563" algn="l" defTabSz="958025" rtl="0" eaLnBrk="0" fontAlgn="base" hangingPunct="0">
        <a:spcBef>
          <a:spcPct val="0"/>
        </a:spcBef>
        <a:spcAft>
          <a:spcPts val="564"/>
        </a:spcAft>
        <a:buFont typeface="Arial" pitchFamily="34" charset="0"/>
        <a:buChar char="‒"/>
        <a:defRPr sz="15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68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304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72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840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608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376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144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EE9955-6443-4E08-A267-1D1DDBF0D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5414C4-9FF5-4493-843E-230AC0A9E3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194252-F292-4D92-AE1E-BC4DB2593A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33460-D746-4620-A94E-E852CE8F21E7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6FD3EA-499E-4000-8959-1B17CD51F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CA7946-FDC5-468E-AFE5-E1B93E021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FB66E-8D6F-4FBE-9210-DACD8DF885D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053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-5747"/>
            <a:ext cx="10940716" cy="398770"/>
          </a:xfrm>
        </p:spPr>
        <p:txBody>
          <a:bodyPr>
            <a:noAutofit/>
          </a:bodyPr>
          <a:lstStyle/>
          <a:p>
            <a:pPr lvl="0"/>
            <a:r>
              <a:rPr lang="en-GB" sz="2400" b="1" dirty="0" smtClean="0">
                <a:solidFill>
                  <a:srgbClr val="002060"/>
                </a:solidFill>
                <a:latin typeface="+mn-lt"/>
              </a:rPr>
              <a:t>CTL BRD Status Update</a:t>
            </a:r>
            <a:endParaRPr lang="en-GB" sz="2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EE1FA-814C-4BDC-9591-31839B5CF716}" type="slidenum">
              <a:rPr lang="en-US" sz="1400"/>
              <a:pPr/>
              <a:t>1</a:t>
            </a:fld>
            <a:endParaRPr lang="en-US" sz="140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0" y="438140"/>
            <a:ext cx="121920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29152" y="1016400"/>
            <a:ext cx="4154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endParaRPr lang="en-GB" sz="1200" dirty="0" smtClean="0"/>
          </a:p>
          <a:p>
            <a:pPr marL="228600" indent="-228600">
              <a:buFont typeface="+mj-lt"/>
              <a:buAutoNum type="arabicPeriod"/>
            </a:pPr>
            <a:endParaRPr lang="en-GB" sz="1200" dirty="0"/>
          </a:p>
        </p:txBody>
      </p:sp>
      <p:cxnSp>
        <p:nvCxnSpPr>
          <p:cNvPr id="42" name="Straight Connector 41"/>
          <p:cNvCxnSpPr/>
          <p:nvPr/>
        </p:nvCxnSpPr>
        <p:spPr>
          <a:xfrm>
            <a:off x="6080106" y="431889"/>
            <a:ext cx="15894" cy="5472903"/>
          </a:xfrm>
          <a:prstGeom prst="line">
            <a:avLst/>
          </a:prstGeom>
          <a:ln>
            <a:solidFill>
              <a:srgbClr val="1E325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565414"/>
              </p:ext>
            </p:extLst>
          </p:nvPr>
        </p:nvGraphicFramePr>
        <p:xfrm>
          <a:off x="6223819" y="456126"/>
          <a:ext cx="5521263" cy="8229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830965">
                  <a:extLst>
                    <a:ext uri="{9D8B030D-6E8A-4147-A177-3AD203B41FA5}">
                      <a16:colId xmlns:a16="http://schemas.microsoft.com/office/drawing/2014/main" val="2708391008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2560033936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2764014408"/>
                    </a:ext>
                  </a:extLst>
                </a:gridCol>
              </a:tblGrid>
              <a:tr h="186221"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Phase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Completion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Status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968946"/>
                  </a:ext>
                </a:extLst>
              </a:tr>
              <a:tr h="186221"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Requirement Gathering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Completed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In Progress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033556"/>
                  </a:ext>
                </a:extLst>
              </a:tr>
              <a:tr h="186221"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BRD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In Progress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In Progress</a:t>
                      </a:r>
                      <a:endParaRPr lang="en-GB" sz="1200" kern="1200" dirty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48945"/>
                  </a:ext>
                </a:extLst>
              </a:tr>
            </a:tbl>
          </a:graphicData>
        </a:graphic>
      </p:graphicFrame>
      <p:sp>
        <p:nvSpPr>
          <p:cNvPr id="7" name="Oval 6"/>
          <p:cNvSpPr/>
          <p:nvPr/>
        </p:nvSpPr>
        <p:spPr>
          <a:xfrm>
            <a:off x="11710712" y="24608"/>
            <a:ext cx="368300" cy="350017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9" name="Group 18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492559"/>
              </p:ext>
            </p:extLst>
          </p:nvPr>
        </p:nvGraphicFramePr>
        <p:xfrm>
          <a:off x="131623" y="1167852"/>
          <a:ext cx="5820664" cy="1496241"/>
        </p:xfrm>
        <a:graphic>
          <a:graphicData uri="http://schemas.openxmlformats.org/drawingml/2006/table">
            <a:tbl>
              <a:tblPr/>
              <a:tblGrid>
                <a:gridCol w="5820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144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gress / achievements  in the last week</a:t>
                      </a:r>
                    </a:p>
                  </a:txBody>
                  <a:tcPr marL="50644" marR="50644" marT="18288" marB="18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2000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isconnection Order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Functional steps captured &amp;</a:t>
                      </a:r>
                      <a:r>
                        <a:rPr lang="en-GB" sz="10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raft BRD shared with development team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b="1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ew Install &amp; New BAN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Functional steps captured &amp; Draft BRD shared with Op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000" b="1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eterm &amp; Renewal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WIP</a:t>
                      </a:r>
                    </a:p>
                    <a:p>
                      <a:pPr marL="171450" marR="0" lvl="0" indent="-171450" algn="l" defTabSz="695325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0A1B5F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Helvetica" pitchFamily="34" charset="0"/>
                      </a:endParaRPr>
                    </a:p>
                  </a:txBody>
                  <a:tcPr marL="66462" marR="99692" marT="54000" marB="54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0" name="Group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618735"/>
              </p:ext>
            </p:extLst>
          </p:nvPr>
        </p:nvGraphicFramePr>
        <p:xfrm>
          <a:off x="130370" y="2659278"/>
          <a:ext cx="5821917" cy="930555"/>
        </p:xfrm>
        <a:graphic>
          <a:graphicData uri="http://schemas.openxmlformats.org/drawingml/2006/table">
            <a:tbl>
              <a:tblPr/>
              <a:tblGrid>
                <a:gridCol w="5821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417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ctivities planned for this week</a:t>
                      </a:r>
                    </a:p>
                  </a:txBody>
                  <a:tcPr marL="50644" marR="50644" marT="18288" marB="18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637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ocument</a:t>
                      </a:r>
                      <a:r>
                        <a:rPr lang="en-US" sz="10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the functional steps for </a:t>
                      </a:r>
                      <a:r>
                        <a:rPr lang="en-US" sz="1000" baseline="0" dirty="0" err="1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eterm</a:t>
                      </a:r>
                      <a:r>
                        <a:rPr lang="en-US" sz="10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/Renewal &amp; Add/change/remove bundl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Ops SMEs to attach the screenshots in the completed BRDs</a:t>
                      </a:r>
                      <a:endParaRPr lang="en-US" sz="100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  <a:p>
                      <a:pPr marL="225425" indent="-225425" defTabSz="69532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A1B5F"/>
                        </a:buClr>
                        <a:buFontTx/>
                        <a:buChar char="•"/>
                        <a:defRPr/>
                      </a:pPr>
                      <a:endParaRPr lang="en-US" sz="1000" dirty="0" smtClean="0">
                        <a:solidFill>
                          <a:schemeClr val="tx1"/>
                        </a:solidFill>
                        <a:latin typeface="Arial" pitchFamily="34" charset="0"/>
                      </a:endParaRPr>
                    </a:p>
                  </a:txBody>
                  <a:tcPr marL="66462" marR="99692" marT="54000" marB="54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1" name="Group 170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402656"/>
              </p:ext>
            </p:extLst>
          </p:nvPr>
        </p:nvGraphicFramePr>
        <p:xfrm>
          <a:off x="130370" y="538156"/>
          <a:ext cx="5821917" cy="546605"/>
        </p:xfrm>
        <a:graphic>
          <a:graphicData uri="http://schemas.openxmlformats.org/drawingml/2006/table">
            <a:tbl>
              <a:tblPr/>
              <a:tblGrid>
                <a:gridCol w="20321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898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30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Weekly Update:</a:t>
                      </a:r>
                    </a:p>
                  </a:txBody>
                  <a:tcPr marL="49846" marR="49846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r>
                        <a:rPr kumimoji="0" lang="en-AU" sz="10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h</a:t>
                      </a:r>
                      <a:r>
                        <a:rPr kumimoji="0" lang="en-A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A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cember, 2019</a:t>
                      </a:r>
                    </a:p>
                  </a:txBody>
                  <a:tcPr marL="49846" marR="49846" marT="54000" marB="54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6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unction:</a:t>
                      </a:r>
                    </a:p>
                  </a:txBody>
                  <a:tcPr marL="49846" marR="49846" marT="54000" marB="54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CTL</a:t>
                      </a:r>
                    </a:p>
                  </a:txBody>
                  <a:tcPr marL="49846" marR="49846" marT="54000" marB="54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4" name="Group 183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6516109"/>
              </p:ext>
            </p:extLst>
          </p:nvPr>
        </p:nvGraphicFramePr>
        <p:xfrm>
          <a:off x="130370" y="3721534"/>
          <a:ext cx="5821917" cy="1222557"/>
        </p:xfrm>
        <a:graphic>
          <a:graphicData uri="http://schemas.openxmlformats.org/drawingml/2006/table">
            <a:tbl>
              <a:tblPr/>
              <a:tblGrid>
                <a:gridCol w="5821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44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jor decisions made in the last week</a:t>
                      </a:r>
                    </a:p>
                  </a:txBody>
                  <a:tcPr marL="50644" marR="50644" marT="18288" marB="18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3655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Ops in unison with the solution (Template) which would require manual intervention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New Install &amp; BAN – Standardization of the OTC Handbook is </a:t>
                      </a: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required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err="1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PoC</a:t>
                      </a: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 needs to be done by Dev. Team to check app &amp; process feasibility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  <a:p>
                      <a:pPr marL="85725" marR="0" lvl="0" indent="-85725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6462" marR="99692" marT="54000" marB="54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5" name="Group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898429"/>
              </p:ext>
            </p:extLst>
          </p:nvPr>
        </p:nvGraphicFramePr>
        <p:xfrm>
          <a:off x="130370" y="4715502"/>
          <a:ext cx="5821917" cy="1076400"/>
        </p:xfrm>
        <a:graphic>
          <a:graphicData uri="http://schemas.openxmlformats.org/drawingml/2006/table">
            <a:tbl>
              <a:tblPr/>
              <a:tblGrid>
                <a:gridCol w="5821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365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jor decisions for this week</a:t>
                      </a:r>
                    </a:p>
                  </a:txBody>
                  <a:tcPr marL="50644" marR="50644" marT="18288" marB="18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74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Approval for documents sharing pending</a:t>
                      </a:r>
                    </a:p>
                  </a:txBody>
                  <a:tcPr marL="66462" marR="99692" marT="54000" marB="54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6" name="Rectangle 25"/>
          <p:cNvSpPr/>
          <p:nvPr/>
        </p:nvSpPr>
        <p:spPr>
          <a:xfrm>
            <a:off x="1" y="456126"/>
            <a:ext cx="11745082" cy="544866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3" name="Group 173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9134590"/>
              </p:ext>
            </p:extLst>
          </p:nvPr>
        </p:nvGraphicFramePr>
        <p:xfrm>
          <a:off x="6223819" y="1730644"/>
          <a:ext cx="5486894" cy="1768700"/>
        </p:xfrm>
        <a:graphic>
          <a:graphicData uri="http://schemas.openxmlformats.org/drawingml/2006/table">
            <a:tbl>
              <a:tblPr/>
              <a:tblGrid>
                <a:gridCol w="27055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6470">
                  <a:extLst>
                    <a:ext uri="{9D8B030D-6E8A-4147-A177-3AD203B41FA5}">
                      <a16:colId xmlns:a16="http://schemas.microsoft.com/office/drawing/2014/main" val="3534962343"/>
                    </a:ext>
                  </a:extLst>
                </a:gridCol>
                <a:gridCol w="10012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36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4800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Key Issues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ssue</a:t>
                      </a:r>
                      <a:endParaRPr kumimoji="0" lang="en-A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atus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aised Date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esolved Date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Yet to get approval for sharing of Docs required for BRD</a:t>
                      </a: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Open</a:t>
                      </a: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4-Nov-2019</a:t>
                      </a: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NA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640454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Infra not yet procured 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Open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4-Nov-2019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4" name="Group 173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91246546"/>
              </p:ext>
            </p:extLst>
          </p:nvPr>
        </p:nvGraphicFramePr>
        <p:xfrm>
          <a:off x="6223818" y="3338711"/>
          <a:ext cx="5486893" cy="1633942"/>
        </p:xfrm>
        <a:graphic>
          <a:graphicData uri="http://schemas.openxmlformats.org/drawingml/2006/table">
            <a:tbl>
              <a:tblPr/>
              <a:tblGrid>
                <a:gridCol w="2715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6365">
                  <a:extLst>
                    <a:ext uri="{9D8B030D-6E8A-4147-A177-3AD203B41FA5}">
                      <a16:colId xmlns:a16="http://schemas.microsoft.com/office/drawing/2014/main" val="3534962343"/>
                    </a:ext>
                  </a:extLst>
                </a:gridCol>
                <a:gridCol w="10012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36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9484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Key Risks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26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isk</a:t>
                      </a:r>
                      <a:endParaRPr kumimoji="0" lang="en-A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atus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igation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Closed Date</a:t>
                      </a: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265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Development cannot start without client approval 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Open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None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NA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640454"/>
                  </a:ext>
                </a:extLst>
              </a:tr>
              <a:tr h="204265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Development cannot start with an incomplete BRD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Open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None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AU" sz="1000" kern="1200" baseline="0" dirty="0" smtClean="0">
                          <a:solidFill>
                            <a:srgbClr val="1F497D"/>
                          </a:solidFill>
                          <a:latin typeface="Arial" panose="020B0604020202020204" pitchFamily="34" charset="0"/>
                          <a:ea typeface="Calibri" panose="020F0502020204030204" pitchFamily="34" charset="0"/>
                          <a:cs typeface="+mn-cs"/>
                        </a:rPr>
                        <a:t>NA</a:t>
                      </a:r>
                      <a:endParaRPr lang="en-AU" sz="1000" kern="1200" baseline="0" dirty="0" smtClean="0">
                        <a:solidFill>
                          <a:srgbClr val="1F497D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26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32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6012" marR="46012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A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18000" marB="18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7349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sGZXUKz0ynWhgKvBIq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sH9r49JEWVDsB74WTy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sGZXUKz0ynWhgKvBIq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FqQw8uRUGGQnGRFiqC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FqQw8uRUGGQnGRFiqCxg"/>
</p:tagLst>
</file>

<file path=ppt/theme/theme1.xml><?xml version="1.0" encoding="utf-8"?>
<a:theme xmlns:a="http://schemas.openxmlformats.org/drawingml/2006/main" name="18_Blank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EF2D811784B34EA5E5849E97BDB12A" ma:contentTypeVersion="4" ma:contentTypeDescription="Create a new document." ma:contentTypeScope="" ma:versionID="0579a0dcf648aa499bd899e4f7951be3">
  <xsd:schema xmlns:xsd="http://www.w3.org/2001/XMLSchema" xmlns:xs="http://www.w3.org/2001/XMLSchema" xmlns:p="http://schemas.microsoft.com/office/2006/metadata/properties" xmlns:ns2="cfc9f499-dee3-4b35-a07e-b7a3bdd0c205" targetNamespace="http://schemas.microsoft.com/office/2006/metadata/properties" ma:root="true" ma:fieldsID="ce5dfe8a2a348fa7d9b23bc82b750095" ns2:_="">
    <xsd:import namespace="cfc9f499-dee3-4b35-a07e-b7a3bdd0c20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c9f499-dee3-4b35-a07e-b7a3bdd0c20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A21111-8A95-450D-8CEF-1A42930070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9D4BB0-1918-4FA9-A056-BBC331B0BB25}">
  <ds:schemaRefs>
    <ds:schemaRef ds:uri="http://schemas.openxmlformats.org/package/2006/metadata/core-properties"/>
    <ds:schemaRef ds:uri="http://www.w3.org/XML/1998/namespace"/>
    <ds:schemaRef ds:uri="http://purl.org/dc/dcmitype/"/>
    <ds:schemaRef ds:uri="cfc9f499-dee3-4b35-a07e-b7a3bdd0c205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82F30C6-A299-4CD9-8595-1C7980EFD5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fc9f499-dee3-4b35-a07e-b7a3bdd0c2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27</TotalTime>
  <Words>204</Words>
  <Application>Microsoft Office PowerPoint</Application>
  <PresentationFormat>Widescreen</PresentationFormat>
  <Paragraphs>5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Helvetica</vt:lpstr>
      <vt:lpstr>Times New Roman</vt:lpstr>
      <vt:lpstr>18_Blank</vt:lpstr>
      <vt:lpstr>1_Office Theme</vt:lpstr>
      <vt:lpstr>CTL BRD Status Upd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odley, San-Jay</dc:creator>
  <cp:lastModifiedBy>Partha Protim Pegu</cp:lastModifiedBy>
  <cp:revision>525</cp:revision>
  <dcterms:modified xsi:type="dcterms:W3CDTF">2019-12-10T08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EF2D811784B34EA5E5849E97BDB12A</vt:lpwstr>
  </property>
  <property fmtid="{D5CDD505-2E9C-101B-9397-08002B2CF9AE}" pid="3" name="MSIP_Label_be4b3411-284d-4d31-bd4f-bc13ef7f1fd6_Enabled">
    <vt:lpwstr>True</vt:lpwstr>
  </property>
  <property fmtid="{D5CDD505-2E9C-101B-9397-08002B2CF9AE}" pid="4" name="MSIP_Label_be4b3411-284d-4d31-bd4f-bc13ef7f1fd6_SiteId">
    <vt:lpwstr>63ce7d59-2f3e-42cd-a8cc-be764cff5eb6</vt:lpwstr>
  </property>
  <property fmtid="{D5CDD505-2E9C-101B-9397-08002B2CF9AE}" pid="5" name="MSIP_Label_be4b3411-284d-4d31-bd4f-bc13ef7f1fd6_Owner">
    <vt:lpwstr>SanJay_Moodley@ad.infosys.com</vt:lpwstr>
  </property>
  <property fmtid="{D5CDD505-2E9C-101B-9397-08002B2CF9AE}" pid="6" name="MSIP_Label_be4b3411-284d-4d31-bd4f-bc13ef7f1fd6_SetDate">
    <vt:lpwstr>2018-12-07T11:10:43.5932044Z</vt:lpwstr>
  </property>
  <property fmtid="{D5CDD505-2E9C-101B-9397-08002B2CF9AE}" pid="7" name="MSIP_Label_be4b3411-284d-4d31-bd4f-bc13ef7f1fd6_Name">
    <vt:lpwstr>Internal</vt:lpwstr>
  </property>
  <property fmtid="{D5CDD505-2E9C-101B-9397-08002B2CF9AE}" pid="8" name="MSIP_Label_be4b3411-284d-4d31-bd4f-bc13ef7f1fd6_Application">
    <vt:lpwstr>Microsoft Azure Information Protection</vt:lpwstr>
  </property>
  <property fmtid="{D5CDD505-2E9C-101B-9397-08002B2CF9AE}" pid="9" name="MSIP_Label_be4b3411-284d-4d31-bd4f-bc13ef7f1fd6_Extended_MSFT_Method">
    <vt:lpwstr>Automatic</vt:lpwstr>
  </property>
  <property fmtid="{D5CDD505-2E9C-101B-9397-08002B2CF9AE}" pid="10" name="MSIP_Label_a0819fa7-4367-4500-ba88-dd630d977609_Enabled">
    <vt:lpwstr>True</vt:lpwstr>
  </property>
  <property fmtid="{D5CDD505-2E9C-101B-9397-08002B2CF9AE}" pid="11" name="MSIP_Label_a0819fa7-4367-4500-ba88-dd630d977609_SiteId">
    <vt:lpwstr>63ce7d59-2f3e-42cd-a8cc-be764cff5eb6</vt:lpwstr>
  </property>
  <property fmtid="{D5CDD505-2E9C-101B-9397-08002B2CF9AE}" pid="12" name="MSIP_Label_a0819fa7-4367-4500-ba88-dd630d977609_Owner">
    <vt:lpwstr>SanJay_Moodley@ad.infosys.com</vt:lpwstr>
  </property>
  <property fmtid="{D5CDD505-2E9C-101B-9397-08002B2CF9AE}" pid="13" name="MSIP_Label_a0819fa7-4367-4500-ba88-dd630d977609_SetDate">
    <vt:lpwstr>2018-12-07T11:10:43.5932044Z</vt:lpwstr>
  </property>
  <property fmtid="{D5CDD505-2E9C-101B-9397-08002B2CF9AE}" pid="14" name="MSIP_Label_a0819fa7-4367-4500-ba88-dd630d977609_Name">
    <vt:lpwstr>Companywide usage</vt:lpwstr>
  </property>
  <property fmtid="{D5CDD505-2E9C-101B-9397-08002B2CF9AE}" pid="15" name="MSIP_Label_a0819fa7-4367-4500-ba88-dd630d977609_Application">
    <vt:lpwstr>Microsoft Azure Information Protection</vt:lpwstr>
  </property>
  <property fmtid="{D5CDD505-2E9C-101B-9397-08002B2CF9AE}" pid="16" name="MSIP_Label_a0819fa7-4367-4500-ba88-dd630d977609_Parent">
    <vt:lpwstr>be4b3411-284d-4d31-bd4f-bc13ef7f1fd6</vt:lpwstr>
  </property>
  <property fmtid="{D5CDD505-2E9C-101B-9397-08002B2CF9AE}" pid="17" name="MSIP_Label_a0819fa7-4367-4500-ba88-dd630d977609_Extended_MSFT_Method">
    <vt:lpwstr>Automatic</vt:lpwstr>
  </property>
  <property fmtid="{D5CDD505-2E9C-101B-9397-08002B2CF9AE}" pid="18" name="Sensitivity">
    <vt:lpwstr>Internal Companywide usage</vt:lpwstr>
  </property>
</Properties>
</file>